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70" r:id="rId3"/>
    <p:sldId id="271" r:id="rId4"/>
    <p:sldId id="272" r:id="rId5"/>
    <p:sldId id="262" r:id="rId6"/>
    <p:sldId id="258" r:id="rId7"/>
    <p:sldId id="275" r:id="rId8"/>
    <p:sldId id="274" r:id="rId9"/>
  </p:sldIdLst>
  <p:sldSz cx="9144000" cy="6858000" type="screen4x3"/>
  <p:notesSz cx="6797675" cy="9926638"/>
  <p:embeddedFontLst>
    <p:embeddedFont>
      <p:font typeface="_Entypo" panose="020B0604020202020204" charset="0"/>
      <p:regular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Myriad Pro Cond" panose="020B0506030403020204" charset="0"/>
      <p:regular r:id="rId15"/>
      <p:bold r:id="rId16"/>
      <p:italic r:id="rId17"/>
      <p:boldItalic r:id="rId18"/>
    </p:embeddedFont>
    <p:embeddedFont>
      <p:font typeface="Tahoma" panose="020B0604030504040204" pitchFamily="34" charset="0"/>
      <p:regular r:id="rId19"/>
      <p:bold r:id="rId20"/>
    </p:embeddedFont>
    <p:embeddedFont>
      <p:font typeface="HeliosCond" panose="04000500000000000000" charset="-52"/>
      <p:regular r:id="rId21"/>
      <p:bold r:id="rId22"/>
      <p:italic r:id="rId23"/>
      <p:boldItalic r:id="rId24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 userDrawn="1">
          <p15:clr>
            <a:srgbClr val="A4A3A4"/>
          </p15:clr>
        </p15:guide>
        <p15:guide id="2" pos="21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0000"/>
    <a:srgbClr val="263354"/>
    <a:srgbClr val="405252"/>
    <a:srgbClr val="3B3B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0" d="100"/>
          <a:sy n="60" d="100"/>
        </p:scale>
        <p:origin x="-78" y="-444"/>
      </p:cViewPr>
      <p:guideLst>
        <p:guide orient="horz" pos="1207"/>
        <p:guide pos="21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12.fntdata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24" Type="http://schemas.openxmlformats.org/officeDocument/2006/relationships/font" Target="fonts/font15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28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06187246810505E-2"/>
          <c:y val="0.1456429367304147"/>
          <c:w val="0.52036515275021811"/>
          <c:h val="0.7193006083600603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E821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26D-46AE-BD1F-805F70D07D8E}"/>
              </c:ext>
            </c:extLst>
          </c:dPt>
          <c:dPt>
            <c:idx val="1"/>
            <c:bubble3D val="0"/>
            <c:spPr>
              <a:solidFill>
                <a:srgbClr val="00469B"/>
              </a:solidFill>
              <a:ln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26D-46AE-BD1F-805F70D07D8E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26D-46AE-BD1F-805F70D07D8E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26D-46AE-BD1F-805F70D07D8E}"/>
              </c:ext>
            </c:extLst>
          </c:dPt>
          <c:dLbls>
            <c:dLbl>
              <c:idx val="1"/>
              <c:numFmt formatCode="General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General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Инициатор</c:v>
                </c:pt>
                <c:pt idx="1">
                  <c:v>РФПИ</c:v>
                </c:pt>
                <c:pt idx="2">
                  <c:v>Регион</c:v>
                </c:pt>
                <c:pt idx="3">
                  <c:v>Банки / Со-инвесторы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 formatCode="0.0">
                  <c:v>450</c:v>
                </c:pt>
                <c:pt idx="3" formatCode="0.0">
                  <c:v>10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26D-46AE-BD1F-805F70D07D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53556192250533552"/>
          <c:y val="0.34826983325096328"/>
          <c:w val="0.45091744474192474"/>
          <c:h val="0.3203485257795851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06187246810505E-2"/>
          <c:y val="0.1456429367304147"/>
          <c:w val="0.52036515275021811"/>
          <c:h val="0.7193006083600603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E821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E0A-44A7-BD5C-CB0A2F32CE8A}"/>
              </c:ext>
            </c:extLst>
          </c:dPt>
          <c:dPt>
            <c:idx val="1"/>
            <c:bubble3D val="0"/>
            <c:spPr>
              <a:solidFill>
                <a:srgbClr val="00469B"/>
              </a:solidFill>
              <a:ln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E0A-44A7-BD5C-CB0A2F32CE8A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E0A-44A7-BD5C-CB0A2F32CE8A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E0A-44A7-BD5C-CB0A2F32CE8A}"/>
              </c:ext>
            </c:extLst>
          </c:dPt>
          <c:dLbls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4"/>
                <c:pt idx="0">
                  <c:v>Оборудование</c:v>
                </c:pt>
                <c:pt idx="1">
                  <c:v>Строительство</c:v>
                </c:pt>
                <c:pt idx="2">
                  <c:v>Земельный участок</c:v>
                </c:pt>
                <c:pt idx="3">
                  <c:v>Транспорт</c:v>
                </c:pt>
              </c:strCache>
            </c:strRef>
          </c:cat>
          <c:val>
            <c:numRef>
              <c:f>Лист1!$B$2:$B$6</c:f>
              <c:numCache>
                <c:formatCode>0</c:formatCode>
                <c:ptCount val="5"/>
                <c:pt idx="0">
                  <c:v>1008</c:v>
                </c:pt>
                <c:pt idx="1">
                  <c:v>459</c:v>
                </c:pt>
                <c:pt idx="2">
                  <c:v>15</c:v>
                </c:pt>
                <c:pt idx="3">
                  <c:v>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E0A-44A7-BD5C-CB0A2F32CE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egendEntry>
        <c:idx val="4"/>
        <c:delete val="1"/>
      </c:legendEntry>
      <c:layout>
        <c:manualLayout>
          <c:xMode val="edge"/>
          <c:yMode val="edge"/>
          <c:x val="0.53556192250533552"/>
          <c:y val="4.6176375056445305E-2"/>
          <c:w val="0.46443807749466454"/>
          <c:h val="0.95382362494355466"/>
        </c:manualLayout>
      </c:layout>
      <c:overlay val="0"/>
      <c:txPr>
        <a:bodyPr/>
        <a:lstStyle/>
        <a:p>
          <a:pPr>
            <a:defRPr sz="1000">
              <a:latin typeface="+mn-lt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3934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8223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8139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554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036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610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404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353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766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4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7759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551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8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0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9.png"/><Relationship Id="rId8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4760"/>
            <a:ext cx="9144000" cy="67324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836141" y="2690363"/>
            <a:ext cx="5857875" cy="76694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</a:rPr>
              <a:t>СТРОИТЕЛЬСТВО ЗАВОДА ПО ПЕРЕРАБОТКЕ ПОЛИМЕРОВ: </a:t>
            </a:r>
          </a:p>
          <a:p>
            <a:pPr algn="ctr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</a:rPr>
              <a:t>НЕТКАНЫЕ МАТЕРИАЛЫ</a:t>
            </a:r>
            <a:endParaRPr lang="ru-RU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35067" y="5569766"/>
            <a:ext cx="8489483" cy="0"/>
          </a:xfrm>
          <a:prstGeom prst="line">
            <a:avLst/>
          </a:prstGeom>
          <a:ln w="158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521345" y="4845532"/>
            <a:ext cx="2305052" cy="5584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3600" b="1" dirty="0">
                <a:solidFill>
                  <a:schemeClr val="accent3">
                    <a:lumMod val="50000"/>
                  </a:schemeClr>
                </a:solidFill>
              </a:rPr>
              <a:t>2020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63997" y="5687496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</a:rPr>
              <a:t>Калужская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область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6291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0" y="62679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765079" y="970687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i="1" dirty="0">
                <a:solidFill>
                  <a:srgbClr val="820000"/>
                </a:solidFill>
              </a:rPr>
              <a:t>МАКЕТ  ИНВЕСТИЦИОННОГО  ПРЕДЛОЖЕНИЯ</a:t>
            </a:r>
          </a:p>
        </p:txBody>
      </p:sp>
    </p:spTree>
    <p:extLst>
      <p:ext uri="{BB962C8B-B14F-4D97-AF65-F5344CB8AC3E}">
        <p14:creationId xmlns:p14="http://schemas.microsoft.com/office/powerpoint/2010/main" val="2404705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0" y="-2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938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РЕЗЮМЕ ПРОЕКТ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850053" y="876022"/>
            <a:ext cx="4231168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КЛЮЧЕВЫЕ ПОКАЗАТЕЛИ ПРОЕКТ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3132" y="4933771"/>
            <a:ext cx="4381915" cy="138629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 050 млн руб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– потребность в инвестициях</a:t>
            </a: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Форма инвестиций: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редит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 сумму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 050 млн руб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на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лет со ставкой не более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8,5%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в рублях.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23133" y="4933770"/>
            <a:ext cx="437689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РЕБНОСТЬ В ИНВЕСТИЦИЯХ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23133" y="886897"/>
            <a:ext cx="4447221" cy="123019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роительство площадки по производству нетканых материалов.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ь - 12 тыс. тонн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 год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3134" y="876022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463" y="922838"/>
            <a:ext cx="317019" cy="31701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007" y="4970271"/>
            <a:ext cx="347502" cy="34750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3666" y="925909"/>
            <a:ext cx="317019" cy="310923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238958" y="2629309"/>
            <a:ext cx="4447221" cy="216616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38959" y="2618435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СТРУКТУРА ИНВЕСТИЦИИ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88" y="2665251"/>
            <a:ext cx="317019" cy="317019"/>
          </a:xfrm>
          <a:prstGeom prst="rect">
            <a:avLst/>
          </a:prstGeom>
        </p:spPr>
      </p:pic>
      <p:graphicFrame>
        <p:nvGraphicFramePr>
          <p:cNvPr id="26" name="Диаграмма 35"/>
          <p:cNvGraphicFramePr/>
          <p:nvPr>
            <p:extLst>
              <p:ext uri="{D42A27DB-BD31-4B8C-83A1-F6EECF244321}">
                <p14:modId xmlns:p14="http://schemas.microsoft.com/office/powerpoint/2010/main" val="3703821637"/>
              </p:ext>
            </p:extLst>
          </p:nvPr>
        </p:nvGraphicFramePr>
        <p:xfrm>
          <a:off x="316007" y="3105745"/>
          <a:ext cx="2268311" cy="1640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Диаграмма 73"/>
          <p:cNvGraphicFramePr/>
          <p:nvPr>
            <p:extLst>
              <p:ext uri="{D42A27DB-BD31-4B8C-83A1-F6EECF244321}">
                <p14:modId xmlns:p14="http://schemas.microsoft.com/office/powerpoint/2010/main" val="1925225965"/>
              </p:ext>
            </p:extLst>
          </p:nvPr>
        </p:nvGraphicFramePr>
        <p:xfrm>
          <a:off x="2402043" y="3092109"/>
          <a:ext cx="2268311" cy="1640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626307" y="3697157"/>
            <a:ext cx="780628" cy="430871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1 500</a:t>
            </a:r>
            <a:endParaRPr lang="ru-RU" sz="1400" b="1" baseline="30000" dirty="0">
              <a:solidFill>
                <a:prstClr val="black"/>
              </a:solidFill>
              <a:latin typeface="+mn-lt"/>
              <a:cs typeface="Arial" panose="020B0604020202020204" pitchFamily="34" charset="0"/>
            </a:endParaRPr>
          </a:p>
          <a:p>
            <a:pPr algn="ctr"/>
            <a:r>
              <a:rPr lang="ru-RU" sz="800" dirty="0" smtClean="0">
                <a:cs typeface="Arial" panose="020B0604020202020204" pitchFamily="34" charset="0"/>
              </a:rPr>
              <a:t>м</a:t>
            </a:r>
            <a:r>
              <a:rPr lang="ru-RU" sz="800" dirty="0" smtClean="0">
                <a:latin typeface="+mn-lt"/>
                <a:cs typeface="Arial" panose="020B0604020202020204" pitchFamily="34" charset="0"/>
              </a:rPr>
              <a:t>лн руб</a:t>
            </a:r>
            <a:r>
              <a:rPr lang="ru-RU" sz="800" dirty="0">
                <a:latin typeface="+mn-lt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65778" y="3666549"/>
            <a:ext cx="780628" cy="430871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1 500</a:t>
            </a:r>
            <a:endParaRPr lang="ru-RU" sz="1400" b="1" baseline="30000" dirty="0">
              <a:solidFill>
                <a:prstClr val="black"/>
              </a:solidFill>
              <a:latin typeface="+mn-lt"/>
              <a:cs typeface="Arial" panose="020B0604020202020204" pitchFamily="34" charset="0"/>
            </a:endParaRPr>
          </a:p>
          <a:p>
            <a:pPr algn="ctr"/>
            <a:r>
              <a:rPr lang="ru-RU" sz="800" dirty="0">
                <a:cs typeface="Arial" panose="020B0604020202020204" pitchFamily="34" charset="0"/>
              </a:rPr>
              <a:t>м</a:t>
            </a:r>
            <a:r>
              <a:rPr lang="ru-RU" sz="800" dirty="0" smtClean="0">
                <a:latin typeface="+mn-lt"/>
                <a:cs typeface="Arial" panose="020B0604020202020204" pitchFamily="34" charset="0"/>
              </a:rPr>
              <a:t>лн руб</a:t>
            </a:r>
            <a:r>
              <a:rPr lang="ru-RU" sz="800" dirty="0">
                <a:latin typeface="+mn-lt"/>
                <a:cs typeface="Arial" panose="020B0604020202020204" pitchFamily="34" charset="0"/>
              </a:rPr>
              <a:t>.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7091787"/>
              </p:ext>
            </p:extLst>
          </p:nvPr>
        </p:nvGraphicFramePr>
        <p:xfrm>
          <a:off x="4863759" y="1285323"/>
          <a:ext cx="4217461" cy="5034746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2866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07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7618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Текущий статус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одготовлен проект, получено разрешение на строительство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лощадки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641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Ежегодная выручк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970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бщий объем инвестици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 500 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EBITDA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 054,8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205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ентабельность </a:t>
                      </a:r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EBITDA,</a:t>
                      </a:r>
                      <a:r>
                        <a:rPr lang="en-US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53,5</a:t>
                      </a:r>
                      <a:r>
                        <a:rPr lang="en-US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65741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NPV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 625,3 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RR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9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I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,22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тавка дисконтирова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2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окупаемости</a:t>
                      </a:r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(DPBP)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6,7 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ериод планирования проект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0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строительства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завода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8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месяцев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83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805497"/>
            <a:ext cx="9144000" cy="3771979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  <p:txBody>
          <a:bodyPr wrap="square" lIns="108000" tIns="108000" rIns="324000" bIns="108000">
            <a:noAutofit/>
          </a:bodyPr>
          <a:lstStyle/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/>
              <a:t>Мировое </a:t>
            </a:r>
            <a:r>
              <a:rPr lang="ru-RU" sz="1200" dirty="0"/>
              <a:t>развитие технического текстиля, предопределенное взаимосвязанными магистральными факторами, напрямую связано с тотальным внедрением и распространением нетканых материалов в традиционных и инновационных индустриальных секторах. </a:t>
            </a:r>
            <a:r>
              <a:rPr lang="ru-RU" sz="900" dirty="0"/>
              <a:t/>
            </a:r>
            <a:br>
              <a:rPr lang="ru-RU" sz="900" dirty="0"/>
            </a:br>
            <a:r>
              <a:rPr lang="ru-RU" sz="900" dirty="0"/>
              <a:t/>
            </a:r>
            <a:br>
              <a:rPr lang="ru-RU" sz="900" dirty="0"/>
            </a:br>
            <a:r>
              <a:rPr lang="ru-RU" sz="1200" dirty="0" smtClean="0"/>
              <a:t>Этими факторами являются: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/>
              <a:t>1</a:t>
            </a:r>
            <a:r>
              <a:rPr lang="ru-RU" sz="1200" dirty="0"/>
              <a:t>) химизации </a:t>
            </a:r>
            <a:r>
              <a:rPr lang="ru-RU" sz="1200" dirty="0" smtClean="0"/>
              <a:t>промышленности;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/>
              <a:t>2</a:t>
            </a:r>
            <a:r>
              <a:rPr lang="ru-RU" sz="1200" dirty="0"/>
              <a:t>) перераспределение использования земельных сельскохозяйственных площадей в пользу пищевой </a:t>
            </a:r>
            <a:r>
              <a:rPr lang="ru-RU" sz="1200" dirty="0" smtClean="0"/>
              <a:t>продукции;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200" dirty="0" smtClean="0"/>
              <a:t>3</a:t>
            </a:r>
            <a:r>
              <a:rPr lang="ru-RU" sz="1200" dirty="0"/>
              <a:t>) возрастающая лояльности потребителей к высококачественной синтетической продукции</a:t>
            </a:r>
            <a:r>
              <a:rPr lang="ru-RU" sz="1200" dirty="0" smtClean="0"/>
              <a:t>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900" dirty="0"/>
              <a:t/>
            </a:r>
            <a:br>
              <a:rPr lang="ru-RU" sz="900" dirty="0"/>
            </a:br>
            <a:r>
              <a:rPr lang="ru-RU" sz="900" dirty="0"/>
              <a:t/>
            </a:r>
            <a:br>
              <a:rPr lang="ru-RU" sz="900" dirty="0"/>
            </a:br>
            <a:r>
              <a:rPr lang="ru-RU" sz="1200" dirty="0"/>
              <a:t>Именно с учётом указанных факторов сегодня текстильная и лёгкая промышленность выступает в контексте развития нетканых материалов как значимый посредник создания продукции (по принципу «изделия-в-изделия»), и благодаря развитию технического текстиля в целом — для предприятий </a:t>
            </a:r>
            <a:r>
              <a:rPr lang="ru-RU" sz="1200" dirty="0" err="1"/>
              <a:t>легпрома</a:t>
            </a:r>
            <a:r>
              <a:rPr lang="ru-RU" sz="1200" dirty="0"/>
              <a:t> открывается ещё большая перспектива как во внутриотраслевом, так и в межотраслевом взаимодействии (строительство, автопром, военная промышленность, медицина, сельское хозяйство, </a:t>
            </a:r>
            <a:r>
              <a:rPr lang="ru-RU" sz="1200" dirty="0" err="1"/>
              <a:t>ect</a:t>
            </a:r>
            <a:r>
              <a:rPr lang="ru-RU" sz="1200" dirty="0"/>
              <a:t>). </a:t>
            </a:r>
            <a:r>
              <a:rPr lang="ru-RU" sz="900" dirty="0"/>
              <a:t/>
            </a:r>
            <a:br>
              <a:rPr lang="ru-RU" sz="900" dirty="0"/>
            </a:br>
            <a:r>
              <a:rPr lang="ru-RU" sz="900" dirty="0"/>
              <a:t/>
            </a:r>
            <a:br>
              <a:rPr lang="ru-RU" sz="900" dirty="0"/>
            </a:br>
            <a:r>
              <a:rPr lang="ru-RU" sz="1200" dirty="0"/>
              <a:t>Успешные внедрения нетканой продукции в бытовой и специализированной текстильной и швейной продукции сформировали базис для нового промышленного этапа в </a:t>
            </a:r>
            <a:r>
              <a:rPr lang="ru-RU" sz="1200" dirty="0" err="1"/>
              <a:t>легпроме</a:t>
            </a:r>
            <a:r>
              <a:rPr lang="ru-RU" sz="1200" dirty="0"/>
              <a:t>, отраженного также в «Стратегии развития лёгкой промышленности». </a:t>
            </a:r>
            <a:r>
              <a:rPr lang="ru-RU" sz="900" dirty="0"/>
              <a:t/>
            </a:r>
            <a:br>
              <a:rPr lang="ru-RU" sz="900" dirty="0"/>
            </a:br>
            <a:endParaRPr lang="ru-RU" sz="90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9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4325" y="172522"/>
            <a:ext cx="502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830573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0" y="5577476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ятиугольник 30"/>
          <p:cNvSpPr/>
          <p:nvPr/>
        </p:nvSpPr>
        <p:spPr>
          <a:xfrm>
            <a:off x="215912" y="848796"/>
            <a:ext cx="2747539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11" y="925828"/>
            <a:ext cx="426070" cy="42607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07621" y="848795"/>
            <a:ext cx="2255830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Местонахождение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Калужская область 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178708" y="848797"/>
            <a:ext cx="2586771" cy="870946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71072" y="848795"/>
            <a:ext cx="2094407" cy="699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Отрасль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переработка полимеров – нетканая продукция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567" y="912566"/>
            <a:ext cx="307472" cy="307472"/>
          </a:xfrm>
          <a:prstGeom prst="rect">
            <a:avLst/>
          </a:prstGeom>
        </p:spPr>
      </p:pic>
      <p:sp>
        <p:nvSpPr>
          <p:cNvPr id="40" name="Пятиугольник 39"/>
          <p:cNvSpPr/>
          <p:nvPr/>
        </p:nvSpPr>
        <p:spPr>
          <a:xfrm>
            <a:off x="5984191" y="848796"/>
            <a:ext cx="2933306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73100" y="848795"/>
            <a:ext cx="2444397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Тип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Создание нового производства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015" y="885916"/>
            <a:ext cx="369680" cy="369680"/>
          </a:xfrm>
          <a:prstGeom prst="rect">
            <a:avLst/>
          </a:prstGeom>
        </p:spPr>
      </p:pic>
      <p:sp>
        <p:nvSpPr>
          <p:cNvPr id="46" name="Пятиугольник 45"/>
          <p:cNvSpPr/>
          <p:nvPr/>
        </p:nvSpPr>
        <p:spPr>
          <a:xfrm>
            <a:off x="4603354" y="5762229"/>
            <a:ext cx="4314143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084917" y="5762228"/>
            <a:ext cx="3832580" cy="946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ектная мощность в год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12 тыс. тонн в год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402" y="5847982"/>
            <a:ext cx="306391" cy="306391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263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Рисунок 50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539" y="1847596"/>
            <a:ext cx="5230445" cy="4800067"/>
          </a:xfrm>
          <a:prstGeom prst="rect">
            <a:avLst/>
          </a:prstGeom>
        </p:spPr>
      </p:pic>
      <p:grpSp>
        <p:nvGrpSpPr>
          <p:cNvPr id="52" name="Группа 51"/>
          <p:cNvGrpSpPr/>
          <p:nvPr/>
        </p:nvGrpSpPr>
        <p:grpSpPr>
          <a:xfrm>
            <a:off x="6710601" y="1044300"/>
            <a:ext cx="2426078" cy="1104726"/>
            <a:chOff x="3114582" y="1489132"/>
            <a:chExt cx="2426078" cy="1104726"/>
          </a:xfrm>
        </p:grpSpPr>
        <p:sp>
          <p:nvSpPr>
            <p:cNvPr id="53" name="Прямоугольник 52"/>
            <p:cNvSpPr/>
            <p:nvPr/>
          </p:nvSpPr>
          <p:spPr>
            <a:xfrm>
              <a:off x="3358652" y="1489132"/>
              <a:ext cx="2182008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олее </a:t>
              </a:r>
              <a:r>
                <a:rPr lang="ru-RU" sz="4400" b="1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рлн</a:t>
              </a:r>
              <a:r>
                <a:rPr lang="ru-RU" sz="20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уб.</a:t>
              </a:r>
              <a:endPara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3114582" y="2162971"/>
              <a:ext cx="2231666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объем инвестиций </a:t>
              </a:r>
            </a:p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с </a:t>
              </a:r>
              <a:r>
                <a:rPr lang="en-US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2006</a:t>
              </a:r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 года</a:t>
              </a: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5228928" y="1044300"/>
            <a:ext cx="1616879" cy="1274003"/>
            <a:chOff x="605884" y="2717162"/>
            <a:chExt cx="1616879" cy="1274003"/>
          </a:xfrm>
        </p:grpSpPr>
        <p:sp>
          <p:nvSpPr>
            <p:cNvPr id="56" name="Прямоугольник 55"/>
            <p:cNvSpPr/>
            <p:nvPr/>
          </p:nvSpPr>
          <p:spPr>
            <a:xfrm>
              <a:off x="783381" y="2717162"/>
              <a:ext cx="1261884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4400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212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605884" y="3391001"/>
              <a:ext cx="1616879" cy="6001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ных</a:t>
              </a:r>
              <a:endParaRPr lang="en-US" sz="11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проектов</a:t>
              </a:r>
            </a:p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реализуется</a:t>
              </a:r>
              <a:endParaRPr lang="en-US" sz="11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4" y="172522"/>
            <a:ext cx="58521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ЕСТОПОЛОЖЕНИЕ ПРОЕКТА,  ГРАФИК РЕАЛИЗАЦИИ </a:t>
            </a:r>
          </a:p>
        </p:txBody>
      </p:sp>
      <p:sp>
        <p:nvSpPr>
          <p:cNvPr id="35" name="Пятиугольник 34"/>
          <p:cNvSpPr/>
          <p:nvPr/>
        </p:nvSpPr>
        <p:spPr>
          <a:xfrm>
            <a:off x="367926" y="4844111"/>
            <a:ext cx="1905000" cy="571164"/>
          </a:xfrm>
          <a:prstGeom prst="homePlate">
            <a:avLst>
              <a:gd name="adj" fmla="val 15519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Разработка проектной документации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риобретение участка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олучение разрешения на строительство</a:t>
            </a:r>
          </a:p>
        </p:txBody>
      </p:sp>
      <p:sp>
        <p:nvSpPr>
          <p:cNvPr id="36" name="Пятиугольник 35"/>
          <p:cNvSpPr/>
          <p:nvPr/>
        </p:nvSpPr>
        <p:spPr>
          <a:xfrm>
            <a:off x="365519" y="5489011"/>
            <a:ext cx="2711023" cy="820732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Строительство объектов и инфраструктуры.</a:t>
            </a:r>
          </a:p>
          <a:p>
            <a:r>
              <a:rPr lang="ru-RU" sz="1000" dirty="0">
                <a:solidFill>
                  <a:schemeClr val="tx1"/>
                </a:solidFill>
              </a:rPr>
              <a:t>Увеличение мощности инженерных сетей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ривлечение финансирования</a:t>
            </a:r>
          </a:p>
        </p:txBody>
      </p:sp>
      <p:grpSp>
        <p:nvGrpSpPr>
          <p:cNvPr id="59" name="Группа 58"/>
          <p:cNvGrpSpPr/>
          <p:nvPr/>
        </p:nvGrpSpPr>
        <p:grpSpPr>
          <a:xfrm>
            <a:off x="204070" y="794020"/>
            <a:ext cx="4733777" cy="3679772"/>
            <a:chOff x="204070" y="794020"/>
            <a:chExt cx="4733777" cy="3679772"/>
          </a:xfrm>
        </p:grpSpPr>
        <p:pic>
          <p:nvPicPr>
            <p:cNvPr id="60" name="Рисунок 59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070" y="794020"/>
              <a:ext cx="3817735" cy="1951860"/>
            </a:xfrm>
            <a:prstGeom prst="rect">
              <a:avLst/>
            </a:prstGeom>
          </p:spPr>
        </p:pic>
        <p:pic>
          <p:nvPicPr>
            <p:cNvPr id="61" name="Рисунок 60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61593" y="1847596"/>
              <a:ext cx="2723455" cy="2238966"/>
            </a:xfrm>
            <a:prstGeom prst="rect">
              <a:avLst/>
            </a:prstGeom>
          </p:spPr>
        </p:pic>
        <p:sp>
          <p:nvSpPr>
            <p:cNvPr id="62" name="Овал 61"/>
            <p:cNvSpPr/>
            <p:nvPr>
              <p:custDataLst>
                <p:tags r:id="rId3"/>
              </p:custDataLst>
            </p:nvPr>
          </p:nvSpPr>
          <p:spPr>
            <a:xfrm>
              <a:off x="3997149" y="2579364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Овал 62"/>
            <p:cNvSpPr/>
            <p:nvPr>
              <p:custDataLst>
                <p:tags r:id="rId4"/>
              </p:custDataLst>
            </p:nvPr>
          </p:nvSpPr>
          <p:spPr>
            <a:xfrm>
              <a:off x="3873131" y="2756132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Овал 63"/>
            <p:cNvSpPr/>
            <p:nvPr>
              <p:custDataLst>
                <p:tags r:id="rId5"/>
              </p:custDataLst>
            </p:nvPr>
          </p:nvSpPr>
          <p:spPr>
            <a:xfrm>
              <a:off x="3634728" y="2820805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Овал 64"/>
            <p:cNvSpPr/>
            <p:nvPr>
              <p:custDataLst>
                <p:tags r:id="rId6"/>
              </p:custDataLst>
            </p:nvPr>
          </p:nvSpPr>
          <p:spPr>
            <a:xfrm>
              <a:off x="3238613" y="3527811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Овал 65"/>
            <p:cNvSpPr/>
            <p:nvPr>
              <p:custDataLst>
                <p:tags r:id="rId7"/>
              </p:custDataLst>
            </p:nvPr>
          </p:nvSpPr>
          <p:spPr>
            <a:xfrm>
              <a:off x="3076422" y="2934743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Овал 66"/>
            <p:cNvSpPr/>
            <p:nvPr>
              <p:custDataLst>
                <p:tags r:id="rId8"/>
              </p:custDataLst>
            </p:nvPr>
          </p:nvSpPr>
          <p:spPr>
            <a:xfrm>
              <a:off x="2954067" y="2685410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Овал 67"/>
            <p:cNvSpPr/>
            <p:nvPr>
              <p:custDataLst>
                <p:tags r:id="rId9"/>
              </p:custDataLst>
            </p:nvPr>
          </p:nvSpPr>
          <p:spPr>
            <a:xfrm>
              <a:off x="3354672" y="2233664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Овал 68"/>
            <p:cNvSpPr/>
            <p:nvPr>
              <p:custDataLst>
                <p:tags r:id="rId10"/>
              </p:custDataLst>
            </p:nvPr>
          </p:nvSpPr>
          <p:spPr>
            <a:xfrm>
              <a:off x="2669522" y="2298337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Овал 69"/>
            <p:cNvSpPr/>
            <p:nvPr>
              <p:custDataLst>
                <p:tags r:id="rId11"/>
              </p:custDataLst>
            </p:nvPr>
          </p:nvSpPr>
          <p:spPr>
            <a:xfrm>
              <a:off x="2552731" y="2750083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Овал 70"/>
            <p:cNvSpPr/>
            <p:nvPr>
              <p:custDataLst>
                <p:tags r:id="rId12"/>
              </p:custDataLst>
            </p:nvPr>
          </p:nvSpPr>
          <p:spPr>
            <a:xfrm>
              <a:off x="2707554" y="2981565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2" name="Овал 71"/>
            <p:cNvSpPr/>
            <p:nvPr>
              <p:custDataLst>
                <p:tags r:id="rId13"/>
              </p:custDataLst>
            </p:nvPr>
          </p:nvSpPr>
          <p:spPr>
            <a:xfrm>
              <a:off x="2484229" y="3192598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3" name="Овал 72"/>
            <p:cNvSpPr/>
            <p:nvPr>
              <p:custDataLst>
                <p:tags r:id="rId14"/>
              </p:custDataLst>
            </p:nvPr>
          </p:nvSpPr>
          <p:spPr>
            <a:xfrm>
              <a:off x="2419556" y="3439864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4" name="TextBox 73"/>
            <p:cNvSpPr txBox="1"/>
            <p:nvPr>
              <p:custDataLst>
                <p:tags r:id="rId15"/>
              </p:custDataLst>
            </p:nvPr>
          </p:nvSpPr>
          <p:spPr>
            <a:xfrm>
              <a:off x="3629342" y="2284953"/>
              <a:ext cx="6222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Ярославль</a:t>
              </a:r>
            </a:p>
          </p:txBody>
        </p:sp>
        <p:sp>
          <p:nvSpPr>
            <p:cNvPr id="75" name="TextBox 74"/>
            <p:cNvSpPr txBox="1"/>
            <p:nvPr>
              <p:custDataLst>
                <p:tags r:id="rId16"/>
              </p:custDataLst>
            </p:nvPr>
          </p:nvSpPr>
          <p:spPr>
            <a:xfrm>
              <a:off x="3994768" y="2486129"/>
              <a:ext cx="5998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Кострома</a:t>
              </a:r>
            </a:p>
          </p:txBody>
        </p:sp>
        <p:sp>
          <p:nvSpPr>
            <p:cNvPr id="76" name="TextBox 75"/>
            <p:cNvSpPr txBox="1"/>
            <p:nvPr>
              <p:custDataLst>
                <p:tags r:id="rId17"/>
              </p:custDataLst>
            </p:nvPr>
          </p:nvSpPr>
          <p:spPr>
            <a:xfrm>
              <a:off x="3391205" y="2944009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Рязань</a:t>
              </a:r>
            </a:p>
          </p:txBody>
        </p:sp>
        <p:sp>
          <p:nvSpPr>
            <p:cNvPr id="77" name="TextBox 76"/>
            <p:cNvSpPr txBox="1"/>
            <p:nvPr>
              <p:custDataLst>
                <p:tags r:id="rId18"/>
              </p:custDataLst>
            </p:nvPr>
          </p:nvSpPr>
          <p:spPr>
            <a:xfrm>
              <a:off x="3037074" y="3237885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Липецк</a:t>
              </a:r>
            </a:p>
          </p:txBody>
        </p:sp>
        <p:sp>
          <p:nvSpPr>
            <p:cNvPr id="78" name="TextBox 77"/>
            <p:cNvSpPr txBox="1"/>
            <p:nvPr>
              <p:custDataLst>
                <p:tags r:id="rId19"/>
              </p:custDataLst>
            </p:nvPr>
          </p:nvSpPr>
          <p:spPr>
            <a:xfrm>
              <a:off x="2547663" y="3505597"/>
              <a:ext cx="5549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Воронеж</a:t>
              </a:r>
            </a:p>
          </p:txBody>
        </p:sp>
        <p:sp>
          <p:nvSpPr>
            <p:cNvPr id="79" name="TextBox 78"/>
            <p:cNvSpPr txBox="1"/>
            <p:nvPr>
              <p:custDataLst>
                <p:tags r:id="rId20"/>
              </p:custDataLst>
            </p:nvPr>
          </p:nvSpPr>
          <p:spPr>
            <a:xfrm>
              <a:off x="3246233" y="3428658"/>
              <a:ext cx="49564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Тамбов</a:t>
              </a:r>
            </a:p>
          </p:txBody>
        </p:sp>
        <p:sp>
          <p:nvSpPr>
            <p:cNvPr id="80" name="TextBox 79"/>
            <p:cNvSpPr txBox="1"/>
            <p:nvPr>
              <p:custDataLst>
                <p:tags r:id="rId21"/>
              </p:custDataLst>
            </p:nvPr>
          </p:nvSpPr>
          <p:spPr>
            <a:xfrm>
              <a:off x="3178972" y="2039208"/>
              <a:ext cx="42832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Тверь</a:t>
              </a:r>
            </a:p>
          </p:txBody>
        </p:sp>
        <p:sp>
          <p:nvSpPr>
            <p:cNvPr id="81" name="TextBox 80"/>
            <p:cNvSpPr txBox="1"/>
            <p:nvPr>
              <p:custDataLst>
                <p:tags r:id="rId22"/>
              </p:custDataLst>
            </p:nvPr>
          </p:nvSpPr>
          <p:spPr>
            <a:xfrm>
              <a:off x="2272926" y="2104673"/>
              <a:ext cx="58381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Смоленск</a:t>
              </a:r>
            </a:p>
          </p:txBody>
        </p:sp>
        <p:sp>
          <p:nvSpPr>
            <p:cNvPr id="82" name="TextBox 81"/>
            <p:cNvSpPr txBox="1"/>
            <p:nvPr>
              <p:custDataLst>
                <p:tags r:id="rId23"/>
              </p:custDataLst>
            </p:nvPr>
          </p:nvSpPr>
          <p:spPr>
            <a:xfrm>
              <a:off x="2159760" y="2640479"/>
              <a:ext cx="4732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Брянск</a:t>
              </a:r>
            </a:p>
          </p:txBody>
        </p:sp>
        <p:sp>
          <p:nvSpPr>
            <p:cNvPr id="83" name="TextBox 82"/>
            <p:cNvSpPr txBox="1"/>
            <p:nvPr>
              <p:custDataLst>
                <p:tags r:id="rId24"/>
              </p:custDataLst>
            </p:nvPr>
          </p:nvSpPr>
          <p:spPr>
            <a:xfrm>
              <a:off x="2670600" y="2675940"/>
              <a:ext cx="45878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Калуга</a:t>
              </a:r>
            </a:p>
          </p:txBody>
        </p:sp>
        <p:sp>
          <p:nvSpPr>
            <p:cNvPr id="84" name="TextBox 83"/>
            <p:cNvSpPr txBox="1"/>
            <p:nvPr>
              <p:custDataLst>
                <p:tags r:id="rId25"/>
              </p:custDataLst>
            </p:nvPr>
          </p:nvSpPr>
          <p:spPr>
            <a:xfrm>
              <a:off x="3071364" y="2828945"/>
              <a:ext cx="37061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Тула</a:t>
              </a:r>
            </a:p>
          </p:txBody>
        </p:sp>
        <p:sp>
          <p:nvSpPr>
            <p:cNvPr id="85" name="TextBox 84"/>
            <p:cNvSpPr txBox="1"/>
            <p:nvPr>
              <p:custDataLst>
                <p:tags r:id="rId26"/>
              </p:custDataLst>
            </p:nvPr>
          </p:nvSpPr>
          <p:spPr>
            <a:xfrm>
              <a:off x="3634728" y="2759095"/>
              <a:ext cx="6094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Владимир</a:t>
              </a:r>
            </a:p>
          </p:txBody>
        </p:sp>
        <p:sp>
          <p:nvSpPr>
            <p:cNvPr id="86" name="TextBox 85"/>
            <p:cNvSpPr txBox="1"/>
            <p:nvPr>
              <p:custDataLst>
                <p:tags r:id="rId27"/>
              </p:custDataLst>
            </p:nvPr>
          </p:nvSpPr>
          <p:spPr>
            <a:xfrm>
              <a:off x="3878310" y="2652958"/>
              <a:ext cx="54373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Иваново</a:t>
              </a:r>
            </a:p>
          </p:txBody>
        </p:sp>
        <p:sp>
          <p:nvSpPr>
            <p:cNvPr id="87" name="TextBox 86"/>
            <p:cNvSpPr txBox="1"/>
            <p:nvPr>
              <p:custDataLst>
                <p:tags r:id="rId28"/>
              </p:custDataLst>
            </p:nvPr>
          </p:nvSpPr>
          <p:spPr>
            <a:xfrm>
              <a:off x="2550198" y="2991752"/>
              <a:ext cx="38985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Орёл</a:t>
              </a:r>
            </a:p>
          </p:txBody>
        </p:sp>
        <p:sp>
          <p:nvSpPr>
            <p:cNvPr id="88" name="TextBox 87"/>
            <p:cNvSpPr txBox="1"/>
            <p:nvPr>
              <p:custDataLst>
                <p:tags r:id="rId29"/>
              </p:custDataLst>
            </p:nvPr>
          </p:nvSpPr>
          <p:spPr>
            <a:xfrm>
              <a:off x="2128297" y="3088537"/>
              <a:ext cx="4154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Курск</a:t>
              </a:r>
            </a:p>
          </p:txBody>
        </p:sp>
        <p:sp>
          <p:nvSpPr>
            <p:cNvPr id="89" name="TextBox 88"/>
            <p:cNvSpPr txBox="1"/>
            <p:nvPr>
              <p:custDataLst>
                <p:tags r:id="rId30"/>
              </p:custDataLst>
            </p:nvPr>
          </p:nvSpPr>
          <p:spPr>
            <a:xfrm>
              <a:off x="1994701" y="3247243"/>
              <a:ext cx="57419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Белгород</a:t>
              </a:r>
            </a:p>
          </p:txBody>
        </p:sp>
        <p:sp>
          <p:nvSpPr>
            <p:cNvPr id="90" name="Овал 89"/>
            <p:cNvSpPr/>
            <p:nvPr>
              <p:custDataLst>
                <p:tags r:id="rId31"/>
              </p:custDataLst>
            </p:nvPr>
          </p:nvSpPr>
          <p:spPr>
            <a:xfrm>
              <a:off x="1953393" y="1489338"/>
              <a:ext cx="2984454" cy="2984454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91" name="Прямая соединительная линия 90"/>
            <p:cNvCxnSpPr/>
            <p:nvPr>
              <p:custDataLst>
                <p:tags r:id="rId32"/>
              </p:custDataLst>
            </p:nvPr>
          </p:nvCxnSpPr>
          <p:spPr>
            <a:xfrm>
              <a:off x="976624" y="1982871"/>
              <a:ext cx="1199276" cy="1796559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Прямая соединительная линия 91"/>
            <p:cNvCxnSpPr/>
            <p:nvPr/>
          </p:nvCxnSpPr>
          <p:spPr>
            <a:xfrm flipV="1">
              <a:off x="984935" y="1519346"/>
              <a:ext cx="2191473" cy="463526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Овал 92"/>
            <p:cNvSpPr/>
            <p:nvPr/>
          </p:nvSpPr>
          <p:spPr>
            <a:xfrm>
              <a:off x="2934571" y="2659953"/>
              <a:ext cx="105536" cy="109740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3195244" y="2605130"/>
              <a:ext cx="246734" cy="158459"/>
            </a:xfrm>
            <a:prstGeom prst="rect">
              <a:avLst/>
            </a:prstGeom>
            <a:solidFill>
              <a:srgbClr val="BCBD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7" name="Пятиугольник 36"/>
          <p:cNvSpPr/>
          <p:nvPr/>
        </p:nvSpPr>
        <p:spPr>
          <a:xfrm>
            <a:off x="1542897" y="6309743"/>
            <a:ext cx="1905000" cy="438151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Приобретение оборудования.</a:t>
            </a:r>
          </a:p>
          <a:p>
            <a:r>
              <a:rPr lang="ru-RU" sz="1000" dirty="0">
                <a:solidFill>
                  <a:schemeClr val="tx1"/>
                </a:solidFill>
              </a:rPr>
              <a:t>Монтаж оборудования.</a:t>
            </a:r>
          </a:p>
        </p:txBody>
      </p:sp>
      <p:sp>
        <p:nvSpPr>
          <p:cNvPr id="38" name="Пятиугольник 37"/>
          <p:cNvSpPr/>
          <p:nvPr/>
        </p:nvSpPr>
        <p:spPr>
          <a:xfrm>
            <a:off x="3161269" y="5457570"/>
            <a:ext cx="1309734" cy="990264"/>
          </a:xfrm>
          <a:prstGeom prst="homePlate">
            <a:avLst>
              <a:gd name="adj" fmla="val 1569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вод в эксплуатацию завода.</a:t>
            </a:r>
          </a:p>
          <a:p>
            <a:r>
              <a:rPr lang="ru-RU" sz="1000" dirty="0">
                <a:solidFill>
                  <a:schemeClr val="tx1"/>
                </a:solidFill>
              </a:rPr>
              <a:t>Начало выпуска продукции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4298432" y="4751042"/>
            <a:ext cx="1020599" cy="656887"/>
          </a:xfrm>
          <a:prstGeom prst="homePlate">
            <a:avLst>
              <a:gd name="adj" fmla="val 17353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ыход на проектную мощность</a:t>
            </a:r>
          </a:p>
        </p:txBody>
      </p:sp>
      <p:sp>
        <p:nvSpPr>
          <p:cNvPr id="26" name="Стрелка вправо 25"/>
          <p:cNvSpPr/>
          <p:nvPr/>
        </p:nvSpPr>
        <p:spPr>
          <a:xfrm>
            <a:off x="186574" y="4176483"/>
            <a:ext cx="5132457" cy="571500"/>
          </a:xfrm>
          <a:prstGeom prst="rightArrow">
            <a:avLst>
              <a:gd name="adj1" fmla="val 7000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332844" y="4267506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0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722065" y="4267506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111286" y="4267506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2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298432" y="4267506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268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771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ОБЗОР ОТРАСЛИ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3707" y="886896"/>
            <a:ext cx="40966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требление пропилена, тыс. т/г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555220" y="1197368"/>
            <a:ext cx="4274452" cy="107155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/>
              <a:t>Рынок полипропилена характеризуется как динамично развивающийся </a:t>
            </a:r>
            <a:r>
              <a:rPr lang="en-US" sz="1050" dirty="0"/>
              <a:t>AGGR</a:t>
            </a:r>
            <a:r>
              <a:rPr lang="ru-RU" sz="400" dirty="0"/>
              <a:t>2011-2015</a:t>
            </a:r>
            <a:r>
              <a:rPr lang="en-US" sz="1050" dirty="0"/>
              <a:t> – 8%</a:t>
            </a:r>
            <a:endParaRPr lang="ru-RU" sz="105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/>
              <a:t>Запуск новых производств полипропилена в 2013 г. ( в том числе Тобольск-Полимер производительностью 500 </a:t>
            </a:r>
            <a:r>
              <a:rPr lang="ru-RU" sz="1050" dirty="0" err="1"/>
              <a:t>тыс.т</a:t>
            </a:r>
            <a:r>
              <a:rPr lang="ru-RU" sz="1050" dirty="0"/>
              <a:t>./г) и выход на мощности в 2015 г. способствовал росту рынка потребления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555219" y="2245970"/>
            <a:ext cx="4274452" cy="149426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ефицит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ей по производству  полиэтилена высокой плотности (ПЭВП) и линейного полиэтилена низкой плотности (ЛПЭНП) в РФ ограничивает развитие потребления данных типов полиэтилена, которые занимают долю более 70% от общего потребления ПЭ</a:t>
            </a:r>
          </a:p>
          <a:p>
            <a:pPr marL="176213" indent="-176213"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пуск ЗСНХ позволит покрыть неудовлетворенный спрос ПЭВП и ЛПЭНП и даст импульс к развитию переработк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14325" y="3684495"/>
            <a:ext cx="37442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требление полиолефинов в РФ, тыс. т/г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55221" y="814165"/>
            <a:ext cx="4274452" cy="36992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ЦЕЛЕСООБРАЗНОСТЬ РЕАЛИЗАЦИИ ПРОЕКТ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517" y="981074"/>
            <a:ext cx="279961" cy="27996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706" y="1321026"/>
            <a:ext cx="4204259" cy="213510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325" y="4258153"/>
            <a:ext cx="4297805" cy="2224652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4555219" y="4272010"/>
            <a:ext cx="4274452" cy="2210795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>
              <a:spcBef>
                <a:spcPts val="600"/>
              </a:spcBef>
            </a:pPr>
            <a:r>
              <a:rPr lang="ru-RU" sz="1050" dirty="0"/>
              <a:t>С конца </a:t>
            </a:r>
            <a:r>
              <a:rPr lang="ru-RU" sz="1050" dirty="0" smtClean="0"/>
              <a:t>февраля 2020 г. </a:t>
            </a:r>
            <a:r>
              <a:rPr lang="ru-RU" sz="1050" dirty="0"/>
              <a:t>спрос на полиэтилен высокого давления (ПВД) на российском рынке ощутимо вырос, начался постепенный рост цен. На прошлой неделе ограниченное предложение у ряда продавцов привело к наиболее ощутимому росту цен за последние несколько недель. После затяжного периода профицита, который отмечался в октябре - январе, к февралю текущего года российским производителям удалось сбалансировать внутренний рынок ПВД, в том числе и за счет роста экспортных продаж. С середины прошлого месяца избыток полиэтилена на рынке исчез, а цены </a:t>
            </a:r>
            <a:r>
              <a:rPr lang="ru-RU" sz="1050" dirty="0" smtClean="0"/>
              <a:t>начали расти</a:t>
            </a:r>
            <a:r>
              <a:rPr lang="ru-RU" sz="1050" dirty="0"/>
              <a:t>. В марте спрос ощутимо вырос за счет ранней весны в ряде регионов, и на второй неделе месяца часть продавцов сообщили, что уже распродали все свои объемы ПВД. Как следствие, цены у выросли за неделю по некоторым позициям полиэтилена на 2,000-4,000 руб. за тонну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555220" y="3888808"/>
            <a:ext cx="4274452" cy="36992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АНАЛИЗ ЦЕН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74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84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ЕДЛОЖЕНИЕ  ИНВЕСТОР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495470" y="886896"/>
            <a:ext cx="2143536" cy="10341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rgbClr val="820000"/>
                </a:solidFill>
              </a:rPr>
              <a:t>1500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млн руб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отребность в финансировании</a:t>
            </a:r>
            <a:endParaRPr lang="en-U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роект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14326" y="4843647"/>
            <a:ext cx="8505824" cy="1063466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оставление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редита в объеме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50 млн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ублей на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лет под не более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8,5%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в рублях, с отсрочкой выплаты суммы основного долга на 24 месяца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14325" y="4787588"/>
            <a:ext cx="8505828" cy="40501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СЛОВИЯ </a:t>
            </a:r>
            <a:r>
              <a:rPr lang="ru-RU" sz="1200" b="1" dirty="0" smtClean="0">
                <a:solidFill>
                  <a:schemeClr val="bg1"/>
                </a:solidFill>
              </a:rPr>
              <a:t>ФИНАНСИРОВАНИЯ ПРОЕКТ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25" y="4819391"/>
            <a:ext cx="341406" cy="3414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2752271" y="2490630"/>
            <a:ext cx="201850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6,7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года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стой срок окупаемости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 (PBP)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752271" y="3578205"/>
            <a:ext cx="229582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8,4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лет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дисконтированный срок окупаемост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14325" y="3591052"/>
            <a:ext cx="2206053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9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%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внутренняя норма доходности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IRR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14325" y="2504480"/>
            <a:ext cx="2323072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625,3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млн руб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чистая приведенная стоимость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NPV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424178" y="2504480"/>
            <a:ext cx="83869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5,1</a:t>
            </a:r>
            <a:endParaRPr lang="ru-RU" sz="44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V/EBITDA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66725" y="4604807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5235758" y="2491800"/>
            <a:ext cx="2188420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054,8</a:t>
            </a:r>
            <a:r>
              <a:rPr lang="ru-RU" sz="1200" b="1" dirty="0" smtClean="0">
                <a:solidFill>
                  <a:srgbClr val="526DB0">
                    <a:lumMod val="50000"/>
                  </a:srgbClr>
                </a:solidFill>
              </a:rPr>
              <a:t>млн </a:t>
            </a:r>
            <a:r>
              <a:rPr lang="ru-RU" sz="1200" b="1" dirty="0">
                <a:solidFill>
                  <a:srgbClr val="526DB0">
                    <a:lumMod val="50000"/>
                  </a:srgbClr>
                </a:solidFill>
              </a:rPr>
              <a:t>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BITDA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205107" y="3577931"/>
            <a:ext cx="1117614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53,5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BITDA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, %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424178" y="3558702"/>
            <a:ext cx="1106393" cy="8679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,22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PI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50249" y="2257023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68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01529"/>
              </p:ext>
            </p:extLst>
          </p:nvPr>
        </p:nvGraphicFramePr>
        <p:xfrm>
          <a:off x="484909" y="786640"/>
          <a:ext cx="8433460" cy="5827587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483168"/>
                <a:gridCol w="1358490"/>
                <a:gridCol w="1517753"/>
                <a:gridCol w="1424831"/>
                <a:gridCol w="1271457"/>
                <a:gridCol w="1377761"/>
              </a:tblGrid>
              <a:tr h="583570"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Налог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Реестр  инвестиционных проектов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ОСЭР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ЭЗ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ИК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ИП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42177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(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 %</a:t>
                      </a:r>
                      <a:r>
                        <a:rPr lang="ru-RU" sz="11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с 2025 года)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5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(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 % 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с 2025 года)</a:t>
                      </a:r>
                      <a:endParaRPr lang="ru-RU" sz="1100" dirty="0" smtClean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 %</a:t>
                      </a:r>
                      <a:endParaRPr lang="ru-RU" sz="11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 %</a:t>
                      </a:r>
                    </a:p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до 01.01.2027 либо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                          до 01.01.2029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в 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  <a:endParaRPr lang="ru-RU" sz="1100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</a:tr>
              <a:tr h="727977">
                <a:tc rowSpan="2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3,5 %*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на срок от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1 до 4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 лет в 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*действует до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 01.01.2023 г.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первых 5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с 1-го по 10-й годы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9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с 11-го по 15-й годы</a:t>
                      </a:r>
                    </a:p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400" dirty="0" smtClean="0">
                        <a:effectLst/>
                        <a:latin typeface="+mn-lt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3,5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с 16-го года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8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0 %</a:t>
                      </a:r>
                      <a:endParaRPr lang="ru-RU" sz="11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</a:t>
                      </a:r>
                      <a:endParaRPr lang="ru-RU" sz="11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3,5 %</a:t>
                      </a:r>
                      <a:endParaRPr lang="ru-RU" sz="8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до 01.01.2027  либо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                          до 01.01.2029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  <a:endParaRPr lang="ru-RU" sz="1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</a:tr>
              <a:tr h="594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следующих 5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7012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 %   </a:t>
                      </a:r>
                      <a:r>
                        <a:rPr lang="ru-RU" sz="11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- </a:t>
                      </a: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  </a:t>
                      </a: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           первых 5 лет;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,1% </a:t>
                      </a:r>
                      <a:r>
                        <a:rPr lang="ru-RU" sz="11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- </a:t>
                      </a:r>
                      <a:r>
                        <a:rPr lang="ru-RU" sz="1100" dirty="0" smtClean="0">
                          <a:effectLst/>
                          <a:latin typeface="+mn-lt"/>
                        </a:rPr>
                        <a:t>с 6-го по 7-й </a:t>
                      </a: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           годы;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,5% </a:t>
                      </a:r>
                      <a:r>
                        <a:rPr lang="ru-RU" sz="11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- </a:t>
                      </a:r>
                      <a:r>
                        <a:rPr lang="ru-RU" sz="1100" dirty="0" smtClean="0">
                          <a:effectLst/>
                          <a:latin typeface="+mn-lt"/>
                        </a:rPr>
                        <a:t>с 8-го по 10 </a:t>
                      </a:r>
                    </a:p>
                    <a:p>
                      <a:pPr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           годы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10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  <a:endParaRPr lang="ru-RU" sz="1100" dirty="0" smtClean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</a:tr>
              <a:tr h="75121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для отдельных видов транспорта в течение 10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i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</a:tr>
              <a:tr h="57809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г. Сосенский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в течение 5 лет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i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</a:tr>
            </a:tbl>
          </a:graphicData>
        </a:graphic>
      </p:graphicFrame>
      <p:sp>
        <p:nvSpPr>
          <p:cNvPr id="19" name="Скругленный прямоугольник 18"/>
          <p:cNvSpPr/>
          <p:nvPr/>
        </p:nvSpPr>
        <p:spPr>
          <a:xfrm>
            <a:off x="569749" y="4175211"/>
            <a:ext cx="1352768" cy="10550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лог на имущество организаций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69749" y="5293953"/>
            <a:ext cx="1352768" cy="69258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портный налог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9989" y="1526599"/>
            <a:ext cx="498950" cy="241147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лог на прибыль организаций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115988" y="2826512"/>
            <a:ext cx="786769" cy="1197966"/>
          </a:xfrm>
          <a:prstGeom prst="roundRect">
            <a:avLst/>
          </a:prstGeom>
          <a:solidFill>
            <a:srgbClr val="ECFBFE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гиональный бюджет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135748" y="1485028"/>
            <a:ext cx="786769" cy="1190751"/>
          </a:xfrm>
          <a:prstGeom prst="roundRect">
            <a:avLst/>
          </a:prstGeom>
          <a:solidFill>
            <a:srgbClr val="ECFBFE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едеральный бюджет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569749" y="6050213"/>
            <a:ext cx="1352768" cy="51737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емельный налог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314324" y="172522"/>
            <a:ext cx="5075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МЕРЫ ГОСУДАРСТВЕННОЙ ПОДДЕРЖКИ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15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93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КОНТАК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-7" y="2477711"/>
            <a:ext cx="9144003" cy="234315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-3" y="247771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82086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1644309"/>
              </p:ext>
            </p:extLst>
          </p:nvPr>
        </p:nvGraphicFramePr>
        <p:xfrm>
          <a:off x="2089439" y="2681538"/>
          <a:ext cx="6610349" cy="1968116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0002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6100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2642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Инициатор проекта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лужская</a:t>
                      </a:r>
                      <a:r>
                        <a:rPr lang="ru-RU" sz="14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бласть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905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Контактные  данные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Гапонова Екатерина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Руководитель</a:t>
                      </a: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направления по работе с инвесторами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ГАУ «АРРКО»</a:t>
                      </a:r>
                      <a:endParaRPr lang="ru-RU" sz="14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Тел</a:t>
                      </a:r>
                      <a:r>
                        <a:rPr lang="ru-RU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4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7 (915) 892 22 02</a:t>
                      </a:r>
                      <a:endParaRPr lang="ru-RU" sz="1400" kern="1200" baseline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mail</a:t>
                      </a:r>
                      <a:r>
                        <a:rPr lang="en-US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r>
                        <a:rPr lang="en-AU" sz="14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g@arrko.ru</a:t>
                      </a:r>
                      <a:endParaRPr lang="ru-RU" sz="1400" kern="1200" baseline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AU" sz="140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estkaluga.com</a:t>
                      </a:r>
                      <a:r>
                        <a:rPr lang="en-AU" sz="1400" dirty="0" smtClean="0"/>
                        <a:t>/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89" y="2919190"/>
            <a:ext cx="890810" cy="89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2818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XKasBbkUyno4HtC4UC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GIfq90EabiZXEcJwu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kGiSfSmE6HwKvhxclw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YEblKkEWxSmMS1W1X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itTwFdsUiUPjOBDWSs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y6iNPMJEmiEr0_qtNK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SSwCU00a7SIqFp7nP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LFdjAkA0e6XovsX12j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U3dKQdEasAUhuNBfo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tkTVwy30.hVjvC_eKG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XAl0Oc0qjH.QnI_gq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nDoZayUqGUoTNWF91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SBQToDfk27MU0WjAkN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hluksM8UG786FXIhVn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c5sJPnnEeWrhihNCk2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SZPHYcwkGFHotVPwA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aS.Ww2zEKOmsK2P2XG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nnHjHjjECkHby5t39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WM1rB.ckyQzBM8RKi6Eg"/>
</p:tagLst>
</file>

<file path=ppt/theme/theme1.xml><?xml version="1.0" encoding="utf-8"?>
<a:theme xmlns:a="http://schemas.openxmlformats.org/drawingml/2006/main" name="Тема Office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HeliosCond">
      <a:majorFont>
        <a:latin typeface="HeliosCond"/>
        <a:ea typeface=""/>
        <a:cs typeface=""/>
      </a:majorFont>
      <a:minorFont>
        <a:latin typeface="HeliosCond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276</TotalTime>
  <Words>898</Words>
  <Application>Microsoft Office PowerPoint</Application>
  <PresentationFormat>Экран (4:3)</PresentationFormat>
  <Paragraphs>215</Paragraphs>
  <Slides>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Arial</vt:lpstr>
      <vt:lpstr>_Entypo</vt:lpstr>
      <vt:lpstr>Calibri</vt:lpstr>
      <vt:lpstr>Myriad Pro Cond</vt:lpstr>
      <vt:lpstr>Times New Roman</vt:lpstr>
      <vt:lpstr>Tahoma</vt:lpstr>
      <vt:lpstr>HeliosCond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</dc:creator>
  <cp:lastModifiedBy>Симачев Дмитрий Александрович</cp:lastModifiedBy>
  <cp:revision>161</cp:revision>
  <cp:lastPrinted>2020-03-12T13:36:58Z</cp:lastPrinted>
  <dcterms:created xsi:type="dcterms:W3CDTF">2020-02-13T13:38:48Z</dcterms:created>
  <dcterms:modified xsi:type="dcterms:W3CDTF">2020-03-27T11:16:27Z</dcterms:modified>
</cp:coreProperties>
</file>